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7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33" r:id="rId17"/>
    <p:sldId id="2147470244" r:id="rId18"/>
    <p:sldId id="2147470228" r:id="rId19"/>
    <p:sldId id="2147470227" r:id="rId20"/>
    <p:sldId id="2147470226" r:id="rId21"/>
    <p:sldId id="2147470224" r:id="rId22"/>
    <p:sldId id="2147470252" r:id="rId23"/>
    <p:sldId id="2147470287" r:id="rId24"/>
    <p:sldId id="2147470237" r:id="rId25"/>
    <p:sldId id="2147374605" r:id="rId2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33"/>
            <p14:sldId id="2147470244"/>
            <p14:sldId id="2147470228"/>
            <p14:sldId id="2147470227"/>
            <p14:sldId id="2147470226"/>
            <p14:sldId id="2147470224"/>
            <p14:sldId id="2147470252"/>
            <p14:sldId id="2147470287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CA18A6-594E-4578-8AB9-5C690EC3EA32}" v="70" dt="2025-07-02T11:37:31.3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>
        <p:scale>
          <a:sx n="166" d="100"/>
          <a:sy n="166" d="100"/>
        </p:scale>
        <p:origin x="-2994" y="-261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1DB5D1E9-92EF-467B-9A09-A70ED12F8C7B}" dt="2025-05-21T10:00:29.534" v="12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  <pc:spChg chg="add mod">
          <ac:chgData name="Alexandre Zanetti de Almeida" userId="129d4ce6-e715-4d33-b4c4-312f1656225b" providerId="ADAL" clId="{1DB5D1E9-92EF-467B-9A09-A70ED12F8C7B}" dt="2025-05-21T11:54:12.025" v="279"/>
          <ac:spMkLst>
            <pc:docMk/>
            <pc:sldMk cId="3456330198" sldId="2147470287"/>
            <ac:spMk id="23" creationId="{2F973CF5-E546-9B4F-DEF6-39F4E09AB846}"/>
          </ac:spMkLst>
        </pc:spChg>
        <pc:graphicFrameChg chg="add mod modGraphic">
          <ac:chgData name="Alexandre Zanetti de Almeida" userId="129d4ce6-e715-4d33-b4c4-312f1656225b" providerId="ADAL" clId="{1DB5D1E9-92EF-467B-9A09-A70ED12F8C7B}" dt="2025-05-21T11:56:44.288" v="290" actId="14734"/>
          <ac:graphicFrameMkLst>
            <pc:docMk/>
            <pc:sldMk cId="3456330198" sldId="2147470287"/>
            <ac:graphicFrameMk id="20" creationId="{B4CBA59E-EE64-84EA-2D15-7B446CBDE137}"/>
          </ac:graphicFrameMkLst>
        </pc:graphicFrameChg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BECA18A6-594E-4578-8AB9-5C690EC3EA32}"/>
    <pc:docChg chg="undo custSel addSld delSld modSld sldOrd modSection">
      <pc:chgData name="Alexandre Zanetti de Almeida" userId="129d4ce6-e715-4d33-b4c4-312f1656225b" providerId="ADAL" clId="{BECA18A6-594E-4578-8AB9-5C690EC3EA32}" dt="2025-07-03T11:26:55.858" v="1876" actId="20577"/>
      <pc:docMkLst>
        <pc:docMk/>
      </pc:docMkLst>
      <pc:sldChg chg="modSp mod">
        <pc:chgData name="Alexandre Zanetti de Almeida" userId="129d4ce6-e715-4d33-b4c4-312f1656225b" providerId="ADAL" clId="{BECA18A6-594E-4578-8AB9-5C690EC3EA32}" dt="2025-07-02T11:35:38.444" v="1078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ECA18A6-594E-4578-8AB9-5C690EC3EA32}" dt="2025-07-02T11:35:38.444" v="1078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ord">
        <pc:chgData name="Alexandre Zanetti de Almeida" userId="129d4ce6-e715-4d33-b4c4-312f1656225b" providerId="ADAL" clId="{BECA18A6-594E-4578-8AB9-5C690EC3EA32}" dt="2025-06-30T14:13:57.632" v="1068"/>
        <pc:sldMkLst>
          <pc:docMk/>
          <pc:sldMk cId="3918225123" sldId="2147470233"/>
        </pc:sldMkLst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8" creationId="{6C5CB6E1-38D5-CEC7-8511-34A9F0C6DCC1}"/>
          </ac:spMkLst>
        </pc:spChg>
        <pc:spChg chg="mod">
          <ac:chgData name="Alexandre Zanetti de Almeida" userId="129d4ce6-e715-4d33-b4c4-312f1656225b" providerId="ADAL" clId="{BECA18A6-594E-4578-8AB9-5C690EC3EA32}" dt="2025-06-27T18:20:49.688" v="814" actId="20577"/>
          <ac:spMkLst>
            <pc:docMk/>
            <pc:sldMk cId="1632712217" sldId="2147470301"/>
            <ac:spMk id="12" creationId="{89CFBADE-4F12-2255-C97C-4E5F41B0F1FA}"/>
          </ac:spMkLst>
        </pc:spChg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4" creationId="{7FADDCB5-60D6-6865-09F6-FFF0A5B3D429}"/>
          </ac:spMkLst>
        </pc:spChg>
        <pc:spChg chg="mod">
          <ac:chgData name="Alexandre Zanetti de Almeida" userId="129d4ce6-e715-4d33-b4c4-312f1656225b" providerId="ADAL" clId="{BECA18A6-594E-4578-8AB9-5C690EC3EA32}" dt="2025-06-27T18:22:39.976" v="877" actId="6549"/>
          <ac:spMkLst>
            <pc:docMk/>
            <pc:sldMk cId="1632712217" sldId="2147470301"/>
            <ac:spMk id="16" creationId="{0C6A6F76-9013-0250-F386-12A5D2EC7B12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9" creationId="{E16AF86A-B303-4AB6-D177-9A57CDB0A5E0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1" creationId="{8FF9D7EA-81F4-64DD-26DC-4F6E7916CA4F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2" creationId="{3EDC0651-03BE-805B-434D-0020D8C8555C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3" creationId="{9BFEAA66-8CBA-15AE-C843-2D1A0AAA517D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27" creationId="{7BCE7D54-F669-0DBD-5827-36321CD907A1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8" creationId="{CD57396B-887C-5CE1-F40E-D6F0F3E57C8D}"/>
          </ac:spMkLst>
        </pc:spChg>
        <pc:spChg chg="mod">
          <ac:chgData name="Alexandre Zanetti de Almeida" userId="129d4ce6-e715-4d33-b4c4-312f1656225b" providerId="ADAL" clId="{BECA18A6-594E-4578-8AB9-5C690EC3EA32}" dt="2025-06-27T18:21:07.280" v="818"/>
          <ac:spMkLst>
            <pc:docMk/>
            <pc:sldMk cId="1632712217" sldId="2147470301"/>
            <ac:spMk id="29" creationId="{DCC9B0EE-7ECC-4459-69CF-DF31F5E465A9}"/>
          </ac:spMkLst>
        </pc:spChg>
        <pc:spChg chg="mod">
          <ac:chgData name="Alexandre Zanetti de Almeida" userId="129d4ce6-e715-4d33-b4c4-312f1656225b" providerId="ADAL" clId="{BECA18A6-594E-4578-8AB9-5C690EC3EA32}" dt="2025-07-03T11:26:55.858" v="1876" actId="20577"/>
          <ac:spMkLst>
            <pc:docMk/>
            <pc:sldMk cId="1632712217" sldId="2147470301"/>
            <ac:spMk id="30" creationId="{D303E229-5125-C25F-1E8B-B6E4FC0DD90C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6" creationId="{F564EAC3-5ACF-9A9B-9AC0-7EAC1CFDF5B0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7" creationId="{65EE4F8D-FB4F-3880-4AA2-98A9581B721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2" creationId="{4E060F5B-14C4-795F-78CD-D4687F64C57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7" creationId="{B1D795D6-DC47-E0E3-FC27-F509DBE461D3}"/>
          </ac:spMkLst>
        </pc:sp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  <pc:spChg chg="mod">
          <ac:chgData name="Alexandre Zanetti de Almeida" userId="129d4ce6-e715-4d33-b4c4-312f1656225b" providerId="ADAL" clId="{BECA18A6-594E-4578-8AB9-5C690EC3EA32}" dt="2025-06-27T18:22:16.724" v="873" actId="1076"/>
          <ac:spMkLst>
            <pc:docMk/>
            <pc:sldMk cId="1783460189" sldId="2147470302"/>
            <ac:spMk id="4" creationId="{9E4DDB46-213F-F41B-E5FF-ABFE3CAC1B49}"/>
          </ac:spMkLst>
        </pc:spChg>
        <pc:spChg chg="mod">
          <ac:chgData name="Alexandre Zanetti de Almeida" userId="129d4ce6-e715-4d33-b4c4-312f1656225b" providerId="ADAL" clId="{BECA18A6-594E-4578-8AB9-5C690EC3EA32}" dt="2025-06-27T18:22:54.282" v="881" actId="6549"/>
          <ac:spMkLst>
            <pc:docMk/>
            <pc:sldMk cId="1783460189" sldId="2147470302"/>
            <ac:spMk id="16" creationId="{52946977-0670-DC65-C382-6C5732031F4D}"/>
          </ac:spMkLst>
        </pc:spChg>
        <pc:spChg chg="mod">
          <ac:chgData name="Alexandre Zanetti de Almeida" userId="129d4ce6-e715-4d33-b4c4-312f1656225b" providerId="ADAL" clId="{BECA18A6-594E-4578-8AB9-5C690EC3EA32}" dt="2025-06-27T18:23:58.509" v="950" actId="20577"/>
          <ac:spMkLst>
            <pc:docMk/>
            <pc:sldMk cId="1783460189" sldId="2147470302"/>
            <ac:spMk id="23" creationId="{B5FF8776-0410-62F1-C55C-183C1CE90858}"/>
          </ac:spMkLst>
        </pc:spChg>
        <pc:spChg chg="mod">
          <ac:chgData name="Alexandre Zanetti de Almeida" userId="129d4ce6-e715-4d33-b4c4-312f1656225b" providerId="ADAL" clId="{BECA18A6-594E-4578-8AB9-5C690EC3EA32}" dt="2025-06-27T18:23:02.889" v="882"/>
          <ac:spMkLst>
            <pc:docMk/>
            <pc:sldMk cId="1783460189" sldId="2147470302"/>
            <ac:spMk id="28" creationId="{B5AF40AB-C85E-DC84-088C-57F6164E4E0E}"/>
          </ac:spMkLst>
        </pc:spChg>
        <pc:spChg chg="mod">
          <ac:chgData name="Alexandre Zanetti de Almeida" userId="129d4ce6-e715-4d33-b4c4-312f1656225b" providerId="ADAL" clId="{BECA18A6-594E-4578-8AB9-5C690EC3EA32}" dt="2025-06-27T18:23:17.496" v="884"/>
          <ac:spMkLst>
            <pc:docMk/>
            <pc:sldMk cId="1783460189" sldId="2147470302"/>
            <ac:spMk id="29" creationId="{8D1C2D31-6EDA-F9C4-4D41-BC53CF761157}"/>
          </ac:spMkLst>
        </pc:spChg>
        <pc:spChg chg="mod">
          <ac:chgData name="Alexandre Zanetti de Almeida" userId="129d4ce6-e715-4d33-b4c4-312f1656225b" providerId="ADAL" clId="{BECA18A6-594E-4578-8AB9-5C690EC3EA32}" dt="2025-06-27T18:23:43.409" v="941" actId="5793"/>
          <ac:spMkLst>
            <pc:docMk/>
            <pc:sldMk cId="1783460189" sldId="2147470302"/>
            <ac:spMk id="30" creationId="{88DDE1F4-BABB-6CE9-1778-428C4D71E43D}"/>
          </ac:spMkLst>
        </pc:spChg>
        <pc:grpChg chg="add mod">
          <ac:chgData name="Alexandre Zanetti de Almeida" userId="129d4ce6-e715-4d33-b4c4-312f1656225b" providerId="ADAL" clId="{BECA18A6-594E-4578-8AB9-5C690EC3EA32}" dt="2025-06-27T18:22:16.724" v="873" actId="1076"/>
          <ac:grpSpMkLst>
            <pc:docMk/>
            <pc:sldMk cId="1783460189" sldId="2147470302"/>
            <ac:grpSpMk id="3" creationId="{4CDFB589-D84B-A12D-92D1-2619810775BD}"/>
          </ac:grpSpMkLst>
        </pc:grpChg>
        <pc:picChg chg="mod">
          <ac:chgData name="Alexandre Zanetti de Almeida" userId="129d4ce6-e715-4d33-b4c4-312f1656225b" providerId="ADAL" clId="{BECA18A6-594E-4578-8AB9-5C690EC3EA32}" dt="2025-06-27T18:22:16.724" v="873" actId="1076"/>
          <ac:picMkLst>
            <pc:docMk/>
            <pc:sldMk cId="1783460189" sldId="2147470302"/>
            <ac:picMk id="6" creationId="{0C47D69E-898D-4C93-B50B-1863B5506A8C}"/>
          </ac:picMkLst>
        </pc:pic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  <pc:spChg chg="mod">
          <ac:chgData name="Alexandre Zanetti de Almeida" userId="129d4ce6-e715-4d33-b4c4-312f1656225b" providerId="ADAL" clId="{BECA18A6-594E-4578-8AB9-5C690EC3EA32}" dt="2025-06-30T14:13:36.988" v="1063" actId="6549"/>
          <ac:spMkLst>
            <pc:docMk/>
            <pc:sldMk cId="3660087686" sldId="2147470303"/>
            <ac:spMk id="12" creationId="{CDB95CB9-17E2-12E9-6CDB-21E389A7B5D2}"/>
          </ac:spMkLst>
        </pc:spChg>
        <pc:spChg chg="mod">
          <ac:chgData name="Alexandre Zanetti de Almeida" userId="129d4ce6-e715-4d33-b4c4-312f1656225b" providerId="ADAL" clId="{BECA18A6-594E-4578-8AB9-5C690EC3EA32}" dt="2025-06-30T14:10:28.359" v="1008" actId="20577"/>
          <ac:spMkLst>
            <pc:docMk/>
            <pc:sldMk cId="3660087686" sldId="2147470303"/>
            <ac:spMk id="16" creationId="{2D3E6C24-C600-EDF5-FE96-CC9CA4E0660D}"/>
          </ac:spMkLst>
        </pc:spChg>
        <pc:spChg chg="mod">
          <ac:chgData name="Alexandre Zanetti de Almeida" userId="129d4ce6-e715-4d33-b4c4-312f1656225b" providerId="ADAL" clId="{BECA18A6-594E-4578-8AB9-5C690EC3EA32}" dt="2025-06-30T14:11:34.816" v="1027"/>
          <ac:spMkLst>
            <pc:docMk/>
            <pc:sldMk cId="3660087686" sldId="2147470303"/>
            <ac:spMk id="21" creationId="{47D183D6-A530-5278-BEA3-F43FF8BE8ECF}"/>
          </ac:spMkLst>
        </pc:spChg>
        <pc:spChg chg="mod">
          <ac:chgData name="Alexandre Zanetti de Almeida" userId="129d4ce6-e715-4d33-b4c4-312f1656225b" providerId="ADAL" clId="{BECA18A6-594E-4578-8AB9-5C690EC3EA32}" dt="2025-06-30T14:11:25.378" v="1020" actId="6549"/>
          <ac:spMkLst>
            <pc:docMk/>
            <pc:sldMk cId="3660087686" sldId="2147470303"/>
            <ac:spMk id="22" creationId="{BAD4C948-5468-221D-166A-CD899DB564DE}"/>
          </ac:spMkLst>
        </pc:spChg>
        <pc:spChg chg="mod">
          <ac:chgData name="Alexandre Zanetti de Almeida" userId="129d4ce6-e715-4d33-b4c4-312f1656225b" providerId="ADAL" clId="{BECA18A6-594E-4578-8AB9-5C690EC3EA32}" dt="2025-06-30T14:10:58.976" v="1014"/>
          <ac:spMkLst>
            <pc:docMk/>
            <pc:sldMk cId="3660087686" sldId="2147470303"/>
            <ac:spMk id="23" creationId="{16A9AEA1-9A4C-F748-69D8-B0CB2EBECEA8}"/>
          </ac:spMkLst>
        </pc:spChg>
        <pc:spChg chg="mod">
          <ac:chgData name="Alexandre Zanetti de Almeida" userId="129d4ce6-e715-4d33-b4c4-312f1656225b" providerId="ADAL" clId="{BECA18A6-594E-4578-8AB9-5C690EC3EA32}" dt="2025-06-30T14:12:02.554" v="1035" actId="20577"/>
          <ac:spMkLst>
            <pc:docMk/>
            <pc:sldMk cId="3660087686" sldId="2147470303"/>
            <ac:spMk id="28" creationId="{D7342A6D-203F-01A7-208F-97F700E5374A}"/>
          </ac:spMkLst>
        </pc:spChg>
        <pc:spChg chg="mod">
          <ac:chgData name="Alexandre Zanetti de Almeida" userId="129d4ce6-e715-4d33-b4c4-312f1656225b" providerId="ADAL" clId="{BECA18A6-594E-4578-8AB9-5C690EC3EA32}" dt="2025-06-30T14:13:17.304" v="1052"/>
          <ac:spMkLst>
            <pc:docMk/>
            <pc:sldMk cId="3660087686" sldId="2147470303"/>
            <ac:spMk id="29" creationId="{0B89EA06-D9D1-02B6-09A4-800E17FDE657}"/>
          </ac:spMkLst>
        </pc:spChg>
        <pc:spChg chg="mod">
          <ac:chgData name="Alexandre Zanetti de Almeida" userId="129d4ce6-e715-4d33-b4c4-312f1656225b" providerId="ADAL" clId="{BECA18A6-594E-4578-8AB9-5C690EC3EA32}" dt="2025-06-30T14:13:25.174" v="1055" actId="6549"/>
          <ac:spMkLst>
            <pc:docMk/>
            <pc:sldMk cId="3660087686" sldId="2147470303"/>
            <ac:spMk id="30" creationId="{EE523B33-5D0C-4EE1-CD90-3C28B6202B61}"/>
          </ac:spMkLst>
        </pc:spChg>
        <pc:spChg chg="mod">
          <ac:chgData name="Alexandre Zanetti de Almeida" userId="129d4ce6-e715-4d33-b4c4-312f1656225b" providerId="ADAL" clId="{BECA18A6-594E-4578-8AB9-5C690EC3EA32}" dt="2025-06-30T14:10:10.201" v="997"/>
          <ac:spMkLst>
            <pc:docMk/>
            <pc:sldMk cId="3660087686" sldId="2147470303"/>
            <ac:spMk id="50" creationId="{E3D28539-E8A2-BC1C-EFB5-5DFA8DA2835B}"/>
          </ac:spMkLst>
        </pc:spChg>
        <pc:grpChg chg="add mod">
          <ac:chgData name="Alexandre Zanetti de Almeida" userId="129d4ce6-e715-4d33-b4c4-312f1656225b" providerId="ADAL" clId="{BECA18A6-594E-4578-8AB9-5C690EC3EA32}" dt="2025-06-30T14:10:10.201" v="997"/>
          <ac:grpSpMkLst>
            <pc:docMk/>
            <pc:sldMk cId="3660087686" sldId="2147470303"/>
            <ac:grpSpMk id="49" creationId="{65EA2985-6653-DD7B-D1FA-3B0D1FA96E72}"/>
          </ac:grpSpMkLst>
        </pc:grpChg>
        <pc:picChg chg="mod">
          <ac:chgData name="Alexandre Zanetti de Almeida" userId="129d4ce6-e715-4d33-b4c4-312f1656225b" providerId="ADAL" clId="{BECA18A6-594E-4578-8AB9-5C690EC3EA32}" dt="2025-06-30T14:10:10.201" v="997"/>
          <ac:picMkLst>
            <pc:docMk/>
            <pc:sldMk cId="3660087686" sldId="2147470303"/>
            <ac:picMk id="51" creationId="{68A52A51-4BEF-5E74-D4CF-50920BB6580F}"/>
          </ac:picMkLst>
        </pc:picChg>
      </pc:sldChg>
      <pc:sldChg chg="addSp delSp modSp add mod">
        <pc:chgData name="Alexandre Zanetti de Almeida" userId="129d4ce6-e715-4d33-b4c4-312f1656225b" providerId="ADAL" clId="{BECA18A6-594E-4578-8AB9-5C690EC3EA32}" dt="2025-07-03T11:25:48.748" v="1869" actId="20577"/>
        <pc:sldMkLst>
          <pc:docMk/>
          <pc:sldMk cId="1940508740" sldId="2147470304"/>
        </pc:sldMkLst>
        <pc:spChg chg="add del">
          <ac:chgData name="Alexandre Zanetti de Almeida" userId="129d4ce6-e715-4d33-b4c4-312f1656225b" providerId="ADAL" clId="{BECA18A6-594E-4578-8AB9-5C690EC3EA32}" dt="2025-07-02T11:36:33.965" v="1115" actId="22"/>
          <ac:spMkLst>
            <pc:docMk/>
            <pc:sldMk cId="1940508740" sldId="2147470304"/>
            <ac:spMk id="3" creationId="{6BDBF264-940A-8751-84D8-DDEA49D9683A}"/>
          </ac:spMkLst>
        </pc:spChg>
        <pc:spChg chg="mod">
          <ac:chgData name="Alexandre Zanetti de Almeida" userId="129d4ce6-e715-4d33-b4c4-312f1656225b" providerId="ADAL" clId="{BECA18A6-594E-4578-8AB9-5C690EC3EA32}" dt="2025-07-03T11:00:26.957" v="1773" actId="404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BECA18A6-594E-4578-8AB9-5C690EC3EA32}" dt="2025-07-03T11:25:48.748" v="1869" actId="20577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BECA18A6-594E-4578-8AB9-5C690EC3EA32}" dt="2025-07-02T11:36:46.773" v="1122"/>
          <ac:spMkLst>
            <pc:docMk/>
            <pc:sldMk cId="1940508740" sldId="2147470304"/>
            <ac:spMk id="23" creationId="{3399BC71-F48A-62FF-1FC5-6A7E292DA2C6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8" creationId="{C52088BD-E241-32F3-D401-EA5F267A951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9" creationId="{A433A465-D5E8-03C4-2424-D9AA99A3E94C}"/>
          </ac:spMkLst>
        </pc:spChg>
        <pc:spChg chg="mod">
          <ac:chgData name="Alexandre Zanetti de Almeida" userId="129d4ce6-e715-4d33-b4c4-312f1656225b" providerId="ADAL" clId="{BECA18A6-594E-4578-8AB9-5C690EC3EA32}" dt="2025-07-02T11:36:40.624" v="1119" actId="20577"/>
          <ac:spMkLst>
            <pc:docMk/>
            <pc:sldMk cId="1940508740" sldId="2147470304"/>
            <ac:spMk id="30" creationId="{640B18F6-8CEE-8FE5-1117-4A2A7F1768E8}"/>
          </ac:spMkLst>
        </pc:spChg>
        <pc:spChg chg="mod">
          <ac:chgData name="Alexandre Zanetti de Almeida" userId="129d4ce6-e715-4d33-b4c4-312f1656225b" providerId="ADAL" clId="{BECA18A6-594E-4578-8AB9-5C690EC3EA32}" dt="2025-07-02T11:36:16.602" v="1103" actId="20577"/>
          <ac:spMkLst>
            <pc:docMk/>
            <pc:sldMk cId="1940508740" sldId="2147470304"/>
            <ac:spMk id="37" creationId="{6EA3331D-8170-4033-7FD7-8D7085001518}"/>
          </ac:spMkLst>
        </pc:spChg>
        <pc:spChg chg="mod">
          <ac:chgData name="Alexandre Zanetti de Almeida" userId="129d4ce6-e715-4d33-b4c4-312f1656225b" providerId="ADAL" clId="{BECA18A6-594E-4578-8AB9-5C690EC3EA32}" dt="2025-07-02T11:36:19.544" v="1106" actId="20577"/>
          <ac:spMkLst>
            <pc:docMk/>
            <pc:sldMk cId="1940508740" sldId="2147470304"/>
            <ac:spMk id="38" creationId="{7FCF2251-6B96-D512-69BE-5B4B2B282FE6}"/>
          </ac:spMkLst>
        </pc:spChg>
        <pc:spChg chg="mod">
          <ac:chgData name="Alexandre Zanetti de Almeida" userId="129d4ce6-e715-4d33-b4c4-312f1656225b" providerId="ADAL" clId="{BECA18A6-594E-4578-8AB9-5C690EC3EA32}" dt="2025-07-02T11:36:22.471" v="1109" actId="20577"/>
          <ac:spMkLst>
            <pc:docMk/>
            <pc:sldMk cId="1940508740" sldId="2147470304"/>
            <ac:spMk id="39" creationId="{4C406243-F2AD-E765-32EA-157C426A3367}"/>
          </ac:spMkLst>
        </pc:spChg>
        <pc:spChg chg="mod">
          <ac:chgData name="Alexandre Zanetti de Almeida" userId="129d4ce6-e715-4d33-b4c4-312f1656225b" providerId="ADAL" clId="{BECA18A6-594E-4578-8AB9-5C690EC3EA32}" dt="2025-07-02T11:36:07.651" v="1094" actId="20577"/>
          <ac:spMkLst>
            <pc:docMk/>
            <pc:sldMk cId="1940508740" sldId="2147470304"/>
            <ac:spMk id="45" creationId="{3EE45CA7-D754-3378-89B9-6728A8248A6D}"/>
          </ac:spMkLst>
        </pc:spChg>
        <pc:spChg chg="mod">
          <ac:chgData name="Alexandre Zanetti de Almeida" userId="129d4ce6-e715-4d33-b4c4-312f1656225b" providerId="ADAL" clId="{BECA18A6-594E-4578-8AB9-5C690EC3EA32}" dt="2025-07-02T11:36:10.272" v="1097" actId="20577"/>
          <ac:spMkLst>
            <pc:docMk/>
            <pc:sldMk cId="1940508740" sldId="2147470304"/>
            <ac:spMk id="46" creationId="{4C0109DF-10BC-8CD5-A0AB-400E2905828E}"/>
          </ac:spMkLst>
        </pc:spChg>
        <pc:spChg chg="mod">
          <ac:chgData name="Alexandre Zanetti de Almeida" userId="129d4ce6-e715-4d33-b4c4-312f1656225b" providerId="ADAL" clId="{BECA18A6-594E-4578-8AB9-5C690EC3EA32}" dt="2025-07-02T11:36:12.992" v="1100" actId="20577"/>
          <ac:spMkLst>
            <pc:docMk/>
            <pc:sldMk cId="1940508740" sldId="2147470304"/>
            <ac:spMk id="47" creationId="{E517AE3D-5DC9-9850-2AD5-0F0398C0D692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02T11:38:29.087" v="1171" actId="20577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13" creationId="{16D2B9C8-3938-0557-7D05-644F94617DC2}"/>
          </ac:spMkLst>
        </pc:spChg>
        <pc:spChg chg="mod">
          <ac:chgData name="Alexandre Zanetti de Almeida" userId="129d4ce6-e715-4d33-b4c4-312f1656225b" providerId="ADAL" clId="{BECA18A6-594E-4578-8AB9-5C690EC3EA32}" dt="2025-07-02T11:38:08.879" v="1153" actId="20577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BECA18A6-594E-4578-8AB9-5C690EC3EA32}" dt="2025-07-02T11:38:29.087" v="1171" actId="20577"/>
          <ac:spMkLst>
            <pc:docMk/>
            <pc:sldMk cId="666269910" sldId="2147470305"/>
            <ac:spMk id="49" creationId="{43DF6B22-3E91-C067-5409-8A30BD51BCD4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0" creationId="{6105204D-BA0B-72FD-2BE4-90C13A8363A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3" creationId="{D17E591F-1B2D-E9C4-DED9-4534D2C0F731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5" creationId="{8492E134-105F-D8D3-65C3-AD3C18FAAB0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8" creationId="{92F76E10-7670-2451-6C63-6CDCCE95A2CE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7" creationId="{62F7B321-F20E-D98D-9D0C-25586CBD2818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9" creationId="{3B2E668E-A7F8-B224-31AB-08EB36B6B8F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3" creationId="{2B50D29F-E327-0FE6-3C03-F96D4577CF4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5" creationId="{B905FA01-8349-0971-F2DF-31C3EF970E0F}"/>
          </ac:spMkLst>
        </pc:spChg>
        <pc:grpChg chg="del">
          <ac:chgData name="Alexandre Zanetti de Almeida" userId="129d4ce6-e715-4d33-b4c4-312f1656225b" providerId="ADAL" clId="{BECA18A6-594E-4578-8AB9-5C690EC3EA32}" dt="2025-07-02T11:37:19.568" v="1127" actId="478"/>
          <ac:grpSpMkLst>
            <pc:docMk/>
            <pc:sldMk cId="666269910" sldId="2147470305"/>
            <ac:grpSpMk id="17" creationId="{1FCCA673-9B66-F5A3-AAD5-CF3B93759CDB}"/>
          </ac:grpSpMkLst>
        </pc:grpChg>
      </pc:sldChg>
      <pc:sldChg chg="addSp delSp modSp add mod">
        <pc:chgData name="Alexandre Zanetti de Almeida" userId="129d4ce6-e715-4d33-b4c4-312f1656225b" providerId="ADAL" clId="{BECA18A6-594E-4578-8AB9-5C690EC3EA32}" dt="2025-07-02T11:37:55.226" v="1141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4" creationId="{BC0E6D19-441B-73B1-BB37-62140F2F6991}"/>
          </ac:spMkLst>
        </pc:spChg>
        <pc:spChg chg="mod">
          <ac:chgData name="Alexandre Zanetti de Almeida" userId="129d4ce6-e715-4d33-b4c4-312f1656225b" providerId="ADAL" clId="{BECA18A6-594E-4578-8AB9-5C690EC3EA32}" dt="2025-07-02T11:37:37.011" v="1138" actId="13926"/>
          <ac:spMkLst>
            <pc:docMk/>
            <pc:sldMk cId="2230261567" sldId="2147470306"/>
            <ac:spMk id="11" creationId="{B8C5B9B3-F82B-CDA6-0CEF-1C7C1C0EC81E}"/>
          </ac:spMkLst>
        </pc:spChg>
        <pc:spChg chg="mod">
          <ac:chgData name="Alexandre Zanetti de Almeida" userId="129d4ce6-e715-4d33-b4c4-312f1656225b" providerId="ADAL" clId="{BECA18A6-594E-4578-8AB9-5C690EC3EA32}" dt="2025-07-02T11:37:55.226" v="1141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5" creationId="{F2F59243-343D-EA82-253E-D4E5E9BAC1B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6" creationId="{1ABE4715-E03E-ACCA-0C50-6C033CA1E1DD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8" creationId="{71356357-76F9-44EA-5A38-DCF522576C8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2" creationId="{DB6E0BA9-C19F-5B6E-91A0-9EEC4C38DEB7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6" creationId="{B0470F95-B712-8F18-93FA-7E41ACF722E4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7" creationId="{123D6B85-14BB-6D57-1BE2-BF7599B59CFC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0" creationId="{A136EF49-3E01-36BA-086A-4CC6CB603D31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2" creationId="{C56586C4-CC4F-6879-82AF-5987643258D9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5" creationId="{5465B40A-C796-EDDB-8E57-3C671DF8E578}"/>
          </ac:spMkLst>
        </pc:spChg>
        <pc:grpChg chg="del">
          <ac:chgData name="Alexandre Zanetti de Almeida" userId="129d4ce6-e715-4d33-b4c4-312f1656225b" providerId="ADAL" clId="{BECA18A6-594E-4578-8AB9-5C690EC3EA32}" dt="2025-07-02T11:37:30.912" v="1133" actId="478"/>
          <ac:grpSpMkLst>
            <pc:docMk/>
            <pc:sldMk cId="2230261567" sldId="2147470306"/>
            <ac:grpSpMk id="17" creationId="{A4F1C4DF-E0D5-A39F-D809-6914A366D784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0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2.png"/><Relationship Id="rId3" Type="http://schemas.openxmlformats.org/officeDocument/2006/relationships/image" Target="../media/image24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1.png"/><Relationship Id="rId2" Type="http://schemas.openxmlformats.org/officeDocument/2006/relationships/image" Target="../media/image23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0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29.png"/><Relationship Id="rId28" Type="http://schemas.openxmlformats.org/officeDocument/2006/relationships/image" Target="../media/image34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mq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41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reports.rchland.ibm.com/cgi-bin/sf?TS018425621" TargetMode="External"/><Relationship Id="rId7" Type="http://schemas.openxmlformats.org/officeDocument/2006/relationships/hyperlink" Target="https://reports.rchland.ibm.com/cgi-bin/sf?TS019032254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8898555" TargetMode="External"/><Relationship Id="rId5" Type="http://schemas.openxmlformats.org/officeDocument/2006/relationships/hyperlink" Target="https://reports.rchland.ibm.com/cgi-bin/sf?TS018895482" TargetMode="External"/><Relationship Id="rId4" Type="http://schemas.openxmlformats.org/officeDocument/2006/relationships/hyperlink" Target="https://reports.rchland.ibm.com/cgi-bin/sf?TS018634572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4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02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762354"/>
              </p:ext>
            </p:extLst>
          </p:nvPr>
        </p:nvGraphicFramePr>
        <p:xfrm>
          <a:off x="271572" y="979164"/>
          <a:ext cx="10153650" cy="1297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96564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1839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270332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5246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41349778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Cases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enário 1  on-line / Cenário 2  batch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/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08=&gt;2025 (53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14</TotalTime>
  <Words>2077</Words>
  <Application>Microsoft Office PowerPoint</Application>
  <PresentationFormat>Widescreen</PresentationFormat>
  <Paragraphs>509</Paragraphs>
  <Slides>22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3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7-03T11:26:56Z</dcterms:modified>
</cp:coreProperties>
</file>